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6953" r:id="rId6"/>
    <p:sldId id="2147476954" r:id="rId7"/>
    <p:sldId id="2147476955" r:id="rId8"/>
    <p:sldId id="2147476956" r:id="rId9"/>
    <p:sldId id="2147476957" r:id="rId10"/>
    <p:sldId id="2147476958" r:id="rId11"/>
    <p:sldId id="2147476959" r:id="rId12"/>
    <p:sldId id="2147476960" r:id="rId13"/>
    <p:sldId id="2147476961" r:id="rId14"/>
    <p:sldId id="2147476962" r:id="rId15"/>
    <p:sldId id="2147476963" r:id="rId16"/>
    <p:sldId id="2147476964" r:id="rId17"/>
    <p:sldId id="2147476965" r:id="rId18"/>
    <p:sldId id="2147476966" r:id="rId19"/>
    <p:sldId id="2147476967" r:id="rId20"/>
    <p:sldId id="2147476968" r:id="rId21"/>
    <p:sldId id="2147476969" r:id="rId22"/>
    <p:sldId id="2147476970" r:id="rId23"/>
    <p:sldId id="2147476971" r:id="rId24"/>
    <p:sldId id="2147476972" r:id="rId25"/>
    <p:sldId id="2147476973" r:id="rId26"/>
    <p:sldId id="2147476974" r:id="rId27"/>
    <p:sldId id="2147476975" r:id="rId28"/>
    <p:sldId id="2147476976" r:id="rId29"/>
    <p:sldId id="2147476977" r:id="rId30"/>
    <p:sldId id="2147476978" r:id="rId31"/>
    <p:sldId id="2147476979" r:id="rId32"/>
    <p:sldId id="2147476980" r:id="rId33"/>
    <p:sldId id="2147476981" r:id="rId34"/>
    <p:sldId id="2147476982" r:id="rId35"/>
    <p:sldId id="2147476983" r:id="rId36"/>
    <p:sldId id="2147476984" r:id="rId37"/>
    <p:sldId id="2147476985" r:id="rId38"/>
    <p:sldId id="2147476986" r:id="rId39"/>
    <p:sldId id="2147476987" r:id="rId40"/>
    <p:sldId id="2147476988" r:id="rId41"/>
    <p:sldId id="2147476989" r:id="rId42"/>
    <p:sldId id="2147476990" r:id="rId43"/>
    <p:sldId id="2147476991" r:id="rId44"/>
    <p:sldId id="2147476992" r:id="rId45"/>
    <p:sldId id="2147476993" r:id="rId46"/>
    <p:sldId id="2147476994" r:id="rId47"/>
    <p:sldId id="2147476995" r:id="rId48"/>
    <p:sldId id="2147476996" r:id="rId49"/>
    <p:sldId id="2147476997" r:id="rId50"/>
    <p:sldId id="2147476998" r:id="rId51"/>
    <p:sldId id="2147476999" r:id="rId52"/>
    <p:sldId id="2147477000" r:id="rId53"/>
    <p:sldId id="2147477001" r:id="rId54"/>
    <p:sldId id="2147477002" r:id="rId55"/>
    <p:sldId id="2147477003" r:id="rId56"/>
    <p:sldId id="2147477004" r:id="rId57"/>
    <p:sldId id="2147477005" r:id="rId58"/>
    <p:sldId id="2147477006" r:id="rId59"/>
    <p:sldId id="2147477007" r:id="rId60"/>
    <p:sldId id="2147477008" r:id="rId61"/>
    <p:sldId id="2147477009" r:id="rId62"/>
    <p:sldId id="2147477010" r:id="rId63"/>
    <p:sldId id="2147477011" r:id="rId64"/>
    <p:sldId id="2147477012" r:id="rId65"/>
    <p:sldId id="2147477013" r:id="rId66"/>
    <p:sldId id="2147477014" r:id="rId67"/>
    <p:sldId id="2147477015" r:id="rId68"/>
    <p:sldId id="2147477016" r:id="rId69"/>
    <p:sldId id="2147477017" r:id="rId70"/>
    <p:sldId id="2147477018" r:id="rId71"/>
    <p:sldId id="2147477019" r:id="rId72"/>
    <p:sldId id="2147477020" r:id="rId73"/>
    <p:sldId id="2147477021" r:id="rId74"/>
    <p:sldId id="2147477022" r:id="rId75"/>
    <p:sldId id="2147477023" r:id="rId76"/>
    <p:sldId id="2147477024" r:id="rId77"/>
    <p:sldId id="2147477025" r:id="rId78"/>
    <p:sldId id="2147477026" r:id="rId79"/>
    <p:sldId id="2147477027" r:id="rId80"/>
    <p:sldId id="2147477028" r:id="rId81"/>
    <p:sldId id="2147477029" r:id="rId82"/>
    <p:sldId id="2147477030" r:id="rId83"/>
    <p:sldId id="2147477031" r:id="rId84"/>
    <p:sldId id="2147477032" r:id="rId85"/>
    <p:sldId id="2147477033" r:id="rId86"/>
    <p:sldId id="2147477034" r:id="rId87"/>
    <p:sldId id="2147477035" r:id="rId88"/>
    <p:sldId id="2147477036" r:id="rId89"/>
    <p:sldId id="2147477037" r:id="rId90"/>
    <p:sldId id="2147477038" r:id="rId91"/>
    <p:sldId id="2147477039" r:id="rId92"/>
    <p:sldId id="2147477040" r:id="rId93"/>
    <p:sldId id="2147477041" r:id="rId94"/>
    <p:sldId id="2147477042" r:id="rId95"/>
    <p:sldId id="2147477043" r:id="rId96"/>
    <p:sldId id="2147477044" r:id="rId97"/>
    <p:sldId id="2147477045" r:id="rId98"/>
    <p:sldId id="2147477046" r:id="rId99"/>
    <p:sldId id="2147477047" r:id="rId100"/>
    <p:sldId id="2147477048" r:id="rId101"/>
    <p:sldId id="2147477049" r:id="rId102"/>
    <p:sldId id="2147477050" r:id="rId103"/>
    <p:sldId id="2147477051" r:id="rId104"/>
    <p:sldId id="2147477052" r:id="rId105"/>
    <p:sldId id="2147477053" r:id="rId106"/>
    <p:sldId id="2147477054" r:id="rId107"/>
    <p:sldId id="2147477055" r:id="rId108"/>
    <p:sldId id="2147477056" r:id="rId109"/>
    <p:sldId id="2147477057" r:id="rId110"/>
    <p:sldId id="2147477058" r:id="rId111"/>
    <p:sldId id="2147477059" r:id="rId112"/>
    <p:sldId id="2147477060" r:id="rId113"/>
    <p:sldId id="2147477061" r:id="rId114"/>
    <p:sldId id="2147477062" r:id="rId115"/>
    <p:sldId id="2147477063" r:id="rId116"/>
    <p:sldId id="2147477064" r:id="rId117"/>
    <p:sldId id="2147477065" r:id="rId118"/>
    <p:sldId id="2147477066" r:id="rId119"/>
    <p:sldId id="2147477067" r:id="rId120"/>
    <p:sldId id="2147477068" r:id="rId121"/>
    <p:sldId id="2147477069" r:id="rId122"/>
    <p:sldId id="2147477070" r:id="rId123"/>
    <p:sldId id="2147477071" r:id="rId124"/>
    <p:sldId id="2147477072" r:id="rId125"/>
    <p:sldId id="2147477073" r:id="rId126"/>
    <p:sldId id="2147477074" r:id="rId127"/>
    <p:sldId id="2147477075" r:id="rId128"/>
    <p:sldId id="2147477076" r:id="rId129"/>
    <p:sldId id="2147477077" r:id="rId130"/>
    <p:sldId id="2147477078" r:id="rId131"/>
    <p:sldId id="2147477079" r:id="rId132"/>
    <p:sldId id="2147477080" r:id="rId133"/>
    <p:sldId id="2147477081" r:id="rId134"/>
    <p:sldId id="2147477082" r:id="rId135"/>
    <p:sldId id="2147477083" r:id="rId136"/>
    <p:sldId id="2147477084" r:id="rId137"/>
    <p:sldId id="2147477085" r:id="rId138"/>
    <p:sldId id="2147477086" r:id="rId139"/>
    <p:sldId id="2147477087" r:id="rId140"/>
    <p:sldId id="2147477088" r:id="rId141"/>
    <p:sldId id="2147477089" r:id="rId142"/>
    <p:sldId id="2147477090" r:id="rId143"/>
    <p:sldId id="2147477091" r:id="rId144"/>
    <p:sldId id="2147477092" r:id="rId145"/>
    <p:sldId id="2147477093" r:id="rId146"/>
    <p:sldId id="2147477094" r:id="rId147"/>
    <p:sldId id="2147477095" r:id="rId148"/>
    <p:sldId id="2147477096"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939007B5-5BBF-4E8E-AC95-57ED51F86099}">
          <p14:sldIdLst>
            <p14:sldId id="2147476953"/>
            <p14:sldId id="2147476954"/>
            <p14:sldId id="2147476955"/>
            <p14:sldId id="2147476956"/>
          </p14:sldIdLst>
        </p14:section>
        <p14:section name="Brand Sourcing Analysis" id="{EC42375F-3E6F-4714-9286-67F2F5490B8D}">
          <p14:sldIdLst>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 id="2147476973"/>
          </p14:sldIdLst>
        </p14:section>
        <p14:section name="Product Sourcing Analysis" id="{522CAD75-49E5-4225-8434-09BFC7C57192}">
          <p14:sldIdLst>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Lst>
        </p14:section>
        <p14:section name="Price Elasticity Curve" id="{69413BDB-F2D7-4540-AD89-41F8DC896637}">
          <p14:sldIdLst>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Lst>
        </p14:section>
        <p14:section name="Revenue Response Analysis" id="{DC7C2703-2BB0-487C-8B22-197CD564F004}">
          <p14:sldIdLst>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Lst>
        </p14:section>
        <p14:section name="Size Elasticity" id="{E6601334-CB8E-420D-92EE-D45ADDB2CF2A}">
          <p14:sldIdLst>
            <p14:sldId id="2147477092"/>
            <p14:sldId id="2147477093"/>
            <p14:sldId id="2147477094"/>
            <p14:sldId id="2147477095"/>
            <p14:sldId id="2147477096"/>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notesMaster" Target="notesMasters/notesMaster1.xml"/><Relationship Id="rId155" Type="http://schemas.microsoft.com/office/2015/10/relationships/revisionInfo" Target="revisionInfo.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theme" Target="theme/theme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tableStyles" Target="tableStyles.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8/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8/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8/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8/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8/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8/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8/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8/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8/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8/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8/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8/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8/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86.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90.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93.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chart" Target="../charts/chart196.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200.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20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8.xml"/><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124.xml"/><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87055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155952888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34437873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42601962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43896395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388858750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3206400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109160394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201455117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3105365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420644526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3236957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7969194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107006573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183258441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619998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104238418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21691331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18110437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65280483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301674373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39345776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1235909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84750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202973140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295130374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25102209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68612552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192582080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2863580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76838928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150431359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429426251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970416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37610247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401829852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12547693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398920665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86954213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492320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300529234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14616582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76943141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79903324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2498317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90427975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8528287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149666857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347431833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258869718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22994761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284361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1176363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20924124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31506699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797553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5459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12202997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41516635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3891916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624433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8038812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5195298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294300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36989828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1871282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404220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12809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8760665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40140574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41523469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4952728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7477970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1305173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5017804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385601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591016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2463154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1614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34042846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1529153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24803994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560337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7593754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973730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13657974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21082411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0609926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939518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5877459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2500003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2075792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3999988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0193516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14735674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41879832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0829209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3256815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7646955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19345244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8161317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1125302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34076898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29746971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19350205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5850050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9687256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1750045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12645205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64151902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443519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30846211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112684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297234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549692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18342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00533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159348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683607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169029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282979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838001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61179046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2540519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536277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6655731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1311779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321880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540519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261283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513833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121791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28916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42498906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2007304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821846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62841252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216183123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395923350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167271908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19234806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30595394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326218430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043473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84</TotalTime>
  <Words>20508</Words>
  <Application>Microsoft Office PowerPoint</Application>
  <PresentationFormat>On-screen Show (16:9)</PresentationFormat>
  <Paragraphs>5272</Paragraphs>
  <Slides>14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5"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24</cp:revision>
  <dcterms:created xsi:type="dcterms:W3CDTF">2024-07-08T12:09:12Z</dcterms:created>
  <dcterms:modified xsi:type="dcterms:W3CDTF">2025-08-25T20: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